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407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57" autoAdjust="0"/>
  </p:normalViewPr>
  <p:slideViewPr>
    <p:cSldViewPr>
      <p:cViewPr varScale="1">
        <p:scale>
          <a:sx n="114" d="100"/>
          <a:sy n="114" d="100"/>
        </p:scale>
        <p:origin x="372" y="10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-1318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8/10/2020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8/10/2020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N°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20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noProof="0" dirty="0"/>
              <a:t>Outils utilisé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808087" y="1590107"/>
            <a:ext cx="5040000" cy="2009777"/>
            <a:chOff x="479425" y="1515965"/>
            <a:chExt cx="5040000" cy="2009777"/>
          </a:xfrm>
        </p:grpSpPr>
        <p:sp>
          <p:nvSpPr>
            <p:cNvPr id="3" name="Text Placeholder 18">
              <a:extLst>
                <a:ext uri="{FF2B5EF4-FFF2-40B4-BE49-F238E27FC236}">
                  <a16:creationId xmlns:a16="http://schemas.microsoft.com/office/drawing/2014/main" id="{EA1EAE22-96D4-49DE-8534-1506BC81013D}"/>
                </a:ext>
              </a:extLst>
            </p:cNvPr>
            <p:cNvSpPr txBox="1">
              <a:spLocks/>
            </p:cNvSpPr>
            <p:nvPr/>
          </p:nvSpPr>
          <p:spPr>
            <a:xfrm>
              <a:off x="599535" y="1724603"/>
              <a:ext cx="4799779" cy="16563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lenium IDE</a:t>
              </a:r>
              <a:b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71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lugin navigateur de création de tests</a:t>
              </a:r>
              <a:b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registrement des actions utilisateur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écution des suites de tests enregistré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port des tests en Java (et autres langages)</a:t>
              </a:r>
            </a:p>
          </p:txBody>
        </p:sp>
        <p:sp>
          <p:nvSpPr>
            <p:cNvPr id="6" name="Retângulo 1">
              <a:extLst>
                <a:ext uri="{FF2B5EF4-FFF2-40B4-BE49-F238E27FC236}">
                  <a16:creationId xmlns:a16="http://schemas.microsoft.com/office/drawing/2014/main" id="{241F2392-C435-4DDD-ABF5-A3A397441338}"/>
                </a:ext>
              </a:extLst>
            </p:cNvPr>
            <p:cNvSpPr/>
            <p:nvPr/>
          </p:nvSpPr>
          <p:spPr>
            <a:xfrm>
              <a:off x="479425" y="1515965"/>
              <a:ext cx="5040000" cy="2009777"/>
            </a:xfrm>
            <a:prstGeom prst="rect">
              <a:avLst/>
            </a:prstGeom>
            <a:noFill/>
            <a:ln w="57150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343914" y="1590107"/>
            <a:ext cx="5040000" cy="2009777"/>
            <a:chOff x="479425" y="1515965"/>
            <a:chExt cx="5040000" cy="2009777"/>
          </a:xfrm>
        </p:grpSpPr>
        <p:sp>
          <p:nvSpPr>
            <p:cNvPr id="9" name="Text Placeholder 18">
              <a:extLst>
                <a:ext uri="{FF2B5EF4-FFF2-40B4-BE49-F238E27FC236}">
                  <a16:creationId xmlns:a16="http://schemas.microsoft.com/office/drawing/2014/main" id="{EA1EAE22-96D4-49DE-8534-1506BC81013D}"/>
                </a:ext>
              </a:extLst>
            </p:cNvPr>
            <p:cNvSpPr txBox="1">
              <a:spLocks/>
            </p:cNvSpPr>
            <p:nvPr/>
          </p:nvSpPr>
          <p:spPr>
            <a:xfrm>
              <a:off x="591551" y="1724603"/>
              <a:ext cx="4807763" cy="16563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lenium </a:t>
              </a: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rid</a:t>
              </a:r>
              <a:b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71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rveur d’exécution de tests</a:t>
              </a:r>
              <a:b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écution des tests</a:t>
              </a: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rallélisation de l’exécution</a:t>
              </a: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hoix des </a:t>
              </a:r>
              <a:r>
                <a:rPr lang="fr-FR" sz="1200" dirty="0" err="1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bdrivers</a:t>
              </a: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d’exécution</a:t>
              </a:r>
            </a:p>
          </p:txBody>
        </p:sp>
        <p:sp>
          <p:nvSpPr>
            <p:cNvPr id="11" name="Retângulo 1">
              <a:extLst>
                <a:ext uri="{FF2B5EF4-FFF2-40B4-BE49-F238E27FC236}">
                  <a16:creationId xmlns:a16="http://schemas.microsoft.com/office/drawing/2014/main" id="{241F2392-C435-4DDD-ABF5-A3A397441338}"/>
                </a:ext>
              </a:extLst>
            </p:cNvPr>
            <p:cNvSpPr/>
            <p:nvPr/>
          </p:nvSpPr>
          <p:spPr>
            <a:xfrm>
              <a:off x="479425" y="1515965"/>
              <a:ext cx="5040000" cy="2009777"/>
            </a:xfrm>
            <a:prstGeom prst="rect">
              <a:avLst/>
            </a:prstGeom>
            <a:noFill/>
            <a:ln w="57150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08087" y="3962604"/>
            <a:ext cx="5040000" cy="2009777"/>
            <a:chOff x="479425" y="1515965"/>
            <a:chExt cx="5040000" cy="2009777"/>
          </a:xfrm>
        </p:grpSpPr>
        <p:sp>
          <p:nvSpPr>
            <p:cNvPr id="13" name="Text Placeholder 18">
              <a:extLst>
                <a:ext uri="{FF2B5EF4-FFF2-40B4-BE49-F238E27FC236}">
                  <a16:creationId xmlns:a16="http://schemas.microsoft.com/office/drawing/2014/main" id="{EA1EAE22-96D4-49DE-8534-1506BC81013D}"/>
                </a:ext>
              </a:extLst>
            </p:cNvPr>
            <p:cNvSpPr txBox="1">
              <a:spLocks/>
            </p:cNvSpPr>
            <p:nvPr/>
          </p:nvSpPr>
          <p:spPr>
            <a:xfrm>
              <a:off x="599535" y="1724603"/>
              <a:ext cx="4799779" cy="16563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tent</a:t>
              </a: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Report</a:t>
              </a:r>
              <a:b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71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énérateur de rapports</a:t>
              </a:r>
              <a:b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énération des rapports de test</a:t>
              </a:r>
            </a:p>
          </p:txBody>
        </p:sp>
        <p:sp>
          <p:nvSpPr>
            <p:cNvPr id="15" name="Retângulo 1">
              <a:extLst>
                <a:ext uri="{FF2B5EF4-FFF2-40B4-BE49-F238E27FC236}">
                  <a16:creationId xmlns:a16="http://schemas.microsoft.com/office/drawing/2014/main" id="{241F2392-C435-4DDD-ABF5-A3A397441338}"/>
                </a:ext>
              </a:extLst>
            </p:cNvPr>
            <p:cNvSpPr/>
            <p:nvPr/>
          </p:nvSpPr>
          <p:spPr>
            <a:xfrm>
              <a:off x="479425" y="1515965"/>
              <a:ext cx="5040000" cy="2009777"/>
            </a:xfrm>
            <a:prstGeom prst="rect">
              <a:avLst/>
            </a:prstGeom>
            <a:noFill/>
            <a:ln w="57150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343914" y="3962604"/>
            <a:ext cx="5040000" cy="2009777"/>
            <a:chOff x="479425" y="1515965"/>
            <a:chExt cx="5040000" cy="2009777"/>
          </a:xfrm>
        </p:grpSpPr>
        <p:sp>
          <p:nvSpPr>
            <p:cNvPr id="17" name="Text Placeholder 18">
              <a:extLst>
                <a:ext uri="{FF2B5EF4-FFF2-40B4-BE49-F238E27FC236}">
                  <a16:creationId xmlns:a16="http://schemas.microsoft.com/office/drawing/2014/main" id="{EA1EAE22-96D4-49DE-8534-1506BC81013D}"/>
                </a:ext>
              </a:extLst>
            </p:cNvPr>
            <p:cNvSpPr txBox="1">
              <a:spLocks/>
            </p:cNvSpPr>
            <p:nvPr/>
          </p:nvSpPr>
          <p:spPr>
            <a:xfrm>
              <a:off x="591551" y="1724603"/>
              <a:ext cx="4807763" cy="16563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2ABDB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stNG</a:t>
              </a:r>
              <a:b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71A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ramework de test</a:t>
              </a:r>
              <a:b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spiré de JUnit</a:t>
              </a: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donnancement des tests</a:t>
              </a: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chemeClr val="tx2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ditionnement d’exécution</a:t>
              </a:r>
            </a:p>
            <a:p>
              <a:pPr marL="171450" indent="-171450">
                <a:spcBef>
                  <a:spcPts val="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tângulo 1">
              <a:extLst>
                <a:ext uri="{FF2B5EF4-FFF2-40B4-BE49-F238E27FC236}">
                  <a16:creationId xmlns:a16="http://schemas.microsoft.com/office/drawing/2014/main" id="{241F2392-C435-4DDD-ABF5-A3A397441338}"/>
                </a:ext>
              </a:extLst>
            </p:cNvPr>
            <p:cNvSpPr/>
            <p:nvPr/>
          </p:nvSpPr>
          <p:spPr>
            <a:xfrm>
              <a:off x="479425" y="1515965"/>
              <a:ext cx="5040000" cy="2009777"/>
            </a:xfrm>
            <a:prstGeom prst="rect">
              <a:avLst/>
            </a:prstGeom>
            <a:noFill/>
            <a:ln w="57150"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20" name="Picture 2">
            <a:extLst>
              <a:ext uri="{FF2B5EF4-FFF2-40B4-BE49-F238E27FC236}">
                <a16:creationId xmlns:a16="http://schemas.microsoft.com/office/drawing/2014/main" id="{49738EB1-575E-464D-A485-C165A39808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936" y="1700808"/>
            <a:ext cx="360040" cy="373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71E662EB-0F9A-44C5-B35A-6105B957B6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8162" y="1687531"/>
            <a:ext cx="337205" cy="355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logo">
            <a:extLst>
              <a:ext uri="{FF2B5EF4-FFF2-40B4-BE49-F238E27FC236}">
                <a16:creationId xmlns:a16="http://schemas.microsoft.com/office/drawing/2014/main" id="{A7C827C2-ACDE-4B80-B090-2E1E126A33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9944" y="4063745"/>
            <a:ext cx="216024" cy="29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6" name="Picture 2" descr="Randomize test execution in TestNG to improve test isolation. - Mr.Slavchev">
            <a:extLst>
              <a:ext uri="{FF2B5EF4-FFF2-40B4-BE49-F238E27FC236}">
                <a16:creationId xmlns:a16="http://schemas.microsoft.com/office/drawing/2014/main" id="{779B6DEC-0257-4E05-9E6A-CAFA0842AB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2" t="27433" r="31367" b="30177"/>
          <a:stretch/>
        </p:blipFill>
        <p:spPr bwMode="auto">
          <a:xfrm>
            <a:off x="10411271" y="4096091"/>
            <a:ext cx="864096" cy="226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7359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2020.potx" id="{A746830B-8F0F-4B04-8E82-18E8B759B54C}" vid="{F4732A3F-6358-428A-BAE1-907FB5CC983C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CCAC195F1C1945BC432A95FC501F1E" ma:contentTypeVersion="11" ma:contentTypeDescription="Create a new document." ma:contentTypeScope="" ma:versionID="d59b5a91a0fafa0976e5e778d5d69f95">
  <xsd:schema xmlns:xsd="http://www.w3.org/2001/XMLSchema" xmlns:xs="http://www.w3.org/2001/XMLSchema" xmlns:p="http://schemas.microsoft.com/office/2006/metadata/properties" xmlns:ns3="3a60b62b-16cf-4c2a-a0e7-c068944417c3" xmlns:ns4="1ace7547-5b7e-4b7d-9eb7-0f8009cc84b8" targetNamespace="http://schemas.microsoft.com/office/2006/metadata/properties" ma:root="true" ma:fieldsID="d3d31cf915fb0ada36b0998df0057b32" ns3:_="" ns4:_="">
    <xsd:import namespace="3a60b62b-16cf-4c2a-a0e7-c068944417c3"/>
    <xsd:import namespace="1ace7547-5b7e-4b7d-9eb7-0f8009cc84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60b62b-16cf-4c2a-a0e7-c068944417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ce7547-5b7e-4b7d-9eb7-0f8009cc84b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1B6BA5-D9F3-4FCD-A388-AFDA1AE1D7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60b62b-16cf-4c2a-a0e7-c068944417c3"/>
    <ds:schemaRef ds:uri="1ace7547-5b7e-4b7d-9eb7-0f8009cc84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7B1003E-A5D0-4995-A92C-BC0DB87D4D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58569C-3B3F-44C5-BC5E-F9C0122ECC8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</Template>
  <TotalTime>85</TotalTime>
  <Words>76</Words>
  <Application>Microsoft Office PowerPoint</Application>
  <PresentationFormat>Grand écran</PresentationFormat>
  <Paragraphs>15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Outils utilisé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ARAMENDY, Jean-Baptiste</dc:creator>
  <cp:lastModifiedBy>ARAMENDY, Jean-Baptiste</cp:lastModifiedBy>
  <cp:revision>3</cp:revision>
  <dcterms:created xsi:type="dcterms:W3CDTF">2020-05-12T16:03:08Z</dcterms:created>
  <dcterms:modified xsi:type="dcterms:W3CDTF">2020-10-28T17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CCAC195F1C1945BC432A95FC501F1E</vt:lpwstr>
  </property>
</Properties>
</file>